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080"/>
    <a:srgbClr val="FFBFBF"/>
    <a:srgbClr val="00A097"/>
    <a:srgbClr val="7DC9C4"/>
    <a:srgbClr val="A6DAD6"/>
    <a:srgbClr val="FFFFFF"/>
    <a:srgbClr val="C00000"/>
    <a:srgbClr val="006C6D"/>
    <a:srgbClr val="7ECAC4"/>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A35B407-4818-481D-83F8-D51438598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BE7B923-9398-47B5-A8F7-1AD36361A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DEB6E4E-5BB4-4185-B94E-D7B6D4DE8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9845328-97B7-430F-8965-D973EBB91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1AFEB23-153F-4D98-A88A-E6EA8A34C2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C81F4CC-8087-4A62-B409-625D3DBCD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F7F3139-63D9-4EED-BDBD-C11745431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DEFB335-FE04-416E-8753-9DA63AD78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37B9C812-34F6-4F62-B86F-925F2D49C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81D0138-4DC9-47CD-B9C4-B39E8D8D1E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76360F6C-6DAF-4C8C-B2E4-A8433A7D2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F6C71BBA-945C-4643-9EF5-C8B6CE8A21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11D84ECC-D949-46C7-B27F-2E506B8A4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1513DB01-158A-436F-AC5D-F46572AD8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FE524F6E-EFAF-4266-ABD1-BA8299224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3285B621-5B3D-4BA6-9DA4-C326266E68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688488CC-1A27-4158-8815-304AE1D2F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A3522FA7-9FBF-4BF4-936D-2E10496DFF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C473F722-9445-456A-9C17-DF3B309B3F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672D3F10-5547-4EA7-B384-C5E298682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B2B12E40-51C3-4A7A-900A-41728B80C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E7B38423-782F-470D-BA8A-BC4F6BBE7E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1FCCB8AE-A7DB-439B-B361-64055FE13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C10D734-8CBA-4377-B2C0-CBA4611CB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E99BA37D-F2DD-4615-BB40-A2964CE08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826A6B7-E10A-4D2E-82C1-0F48BE407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790D4B8A-81AD-4769-8C25-95C08CAC6C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5DC118F6-9DE0-4EF1-943F-BC5238D8D6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18A24A05-4D49-4214-81EE-8DB4BA28E6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3222FF63-DCE0-4A90-BA9E-411F1097C5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3F485C2C-1EF6-4C86-A311-895BCF145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9E450BA2-F162-4970-AD1B-7FC0D5962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95E771D-AB0C-4A3E-9321-0D67AAE1B9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C0DF0FA8-3F28-4505-B7FF-5324D7718C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AEE0472F-9ED2-4472-9B97-5928040F2B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B33C5DF2-A42F-4B41-BEE6-220BEABBF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4EFB9CC7-9DC0-41A9-8CEE-9FB43AAD7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FF416AD6-C139-4422-BB58-46FD4B3630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B004CB05-A46E-492E-AC81-8D840E6AF6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6451654-2955-4DF5-B19B-051ECCC17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DE3D3039-972C-487F-B4DE-3EBF7694B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8AA5DAA3-24CB-48AC-8F0F-11BCD5C52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7B79907-7C63-4024-954E-314B4A956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F57BB72F-B18A-4EAD-B59B-852075134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E269B2F9-71E3-4605-ADC7-18E30BAC5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814D0B7D-E354-4990-94B7-6C1F1F0B9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FFF4B93C-3613-442D-BB24-0B3902CF27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2FFBE1B2-3706-4F6F-BDAD-F2F615D69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987442CA-51E2-49B6-92D1-F641C76C81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0F54D991-15C3-43BB-9EDC-A6BE9CB79C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12699656-E2F9-4445-B34D-4A236FF30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976ACCCA-5CA0-426C-BAEF-0BC3EFD72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5EE5D83A-D0FB-4449-8F69-42736A4CD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4134280E-25E0-4D06-AC54-15AA86FFC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0A5A5ACE-F8B9-4659-A3BF-115F711E1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F095AB2E-AC98-46E4-A2CC-EFEC36DDAD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F966E5D4-2B2B-4851-858F-F169A6059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07A6AC51-DB44-404B-A8B7-BEABAE2B0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E5236930-2208-47EA-819D-439D8A07E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9C08F543-7A57-46C7-A120-66176A71E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CBB62BAE-A8A4-4DE8-A04B-4E3DA9690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F314C70-B3ED-41C7-91F4-74905FC7E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0A892F65-20DC-437D-898C-69F84706A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433204B6-AAAA-4159-8934-932B47C0EF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14AF78B1-6750-4880-9B9D-F3D1EA941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1/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1525954044"/>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rgbClr val="FF8080"/>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rgbClr val="FFBFBF"/>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A097"/>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extLst>
              <p:ext uri="{D42A27DB-BD31-4B8C-83A1-F6EECF244321}">
                <p14:modId xmlns:p14="http://schemas.microsoft.com/office/powerpoint/2010/main" val="872062300"/>
              </p:ext>
            </p:extLst>
          </p:nvPr>
        </p:nvGraphicFramePr>
        <p:xfrm>
          <a:off x="546970" y="1134112"/>
          <a:ext cx="8093029" cy="1766024"/>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297663">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7360637"/>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280226519"/>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46919138"/>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0373044"/>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580</a:t>
                      </a:r>
                      <a:r>
                        <a:rPr lang="en-US" sz="800" dirty="0">
                          <a:solidFill>
                            <a:srgbClr val="575555"/>
                          </a:solidFill>
                          <a:latin typeface="Nexa Book"/>
                        </a:rPr>
                        <a:t>.</a:t>
                      </a:r>
                      <a:r>
                        <a:rPr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59%</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957830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dirty="0">
                          <a:solidFill>
                            <a:srgbClr val="575555"/>
                          </a:solidFill>
                          <a:latin typeface="Nexa Book"/>
                        </a:rPr>
                        <a:t>26</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9167105"/>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3.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docProps/app.xml><?xml version="1.0" encoding="utf-8"?>
<Properties xmlns="http://schemas.openxmlformats.org/officeDocument/2006/extended-properties" xmlns:vt="http://schemas.openxmlformats.org/officeDocument/2006/docPropsVTypes">
  <Template/>
  <TotalTime>100</TotalTime>
  <Words>4487</Words>
  <Application>Microsoft Office PowerPoint</Application>
  <PresentationFormat>On-screen Show (16:9)</PresentationFormat>
  <Paragraphs>1751</Paragraphs>
  <Slides>10</Slides>
  <Notes>4</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2</cp:revision>
  <dcterms:created xsi:type="dcterms:W3CDTF">2024-07-05T15:31:56Z</dcterms:created>
  <dcterms:modified xsi:type="dcterms:W3CDTF">2025-08-21T08:1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